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sldIdLst>
    <p:sldId id="256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A7F449F-241C-36CD-4DE1-49102B90AF15}" v="23" dt="2023-03-01T19:28:24.196"/>
    <p1510:client id="{AEC868FE-2C78-441C-9A4D-AEECBCBFD84F}" v="219" dt="2022-12-01T14:22:15.0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2479" autoAdjust="0"/>
  </p:normalViewPr>
  <p:slideViewPr>
    <p:cSldViewPr snapToGrid="0">
      <p:cViewPr varScale="1">
        <p:scale>
          <a:sx n="102" d="100"/>
          <a:sy n="102" d="100"/>
        </p:scale>
        <p:origin x="81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lissa Valdez" userId="S::melissa.valdez@sbigrowth.com::c46fa4df-21fd-4105-a49c-e534fe9adcee" providerId="AD" clId="Web-{0A7F449F-241C-36CD-4DE1-49102B90AF15}"/>
    <pc:docChg chg="delSld modSld">
      <pc:chgData name="Melissa Valdez" userId="S::melissa.valdez@sbigrowth.com::c46fa4df-21fd-4105-a49c-e534fe9adcee" providerId="AD" clId="Web-{0A7F449F-241C-36CD-4DE1-49102B90AF15}" dt="2023-03-01T19:28:24.196" v="20" actId="1076"/>
      <pc:docMkLst>
        <pc:docMk/>
      </pc:docMkLst>
      <pc:sldChg chg="addSp delSp modSp">
        <pc:chgData name="Melissa Valdez" userId="S::melissa.valdez@sbigrowth.com::c46fa4df-21fd-4105-a49c-e534fe9adcee" providerId="AD" clId="Web-{0A7F449F-241C-36CD-4DE1-49102B90AF15}" dt="2023-03-01T19:28:24.196" v="20" actId="1076"/>
        <pc:sldMkLst>
          <pc:docMk/>
          <pc:sldMk cId="1479553426" sldId="256"/>
        </pc:sldMkLst>
        <pc:spChg chg="mod">
          <ac:chgData name="Melissa Valdez" userId="S::melissa.valdez@sbigrowth.com::c46fa4df-21fd-4105-a49c-e534fe9adcee" providerId="AD" clId="Web-{0A7F449F-241C-36CD-4DE1-49102B90AF15}" dt="2023-03-01T19:27:49.413" v="18" actId="20577"/>
          <ac:spMkLst>
            <pc:docMk/>
            <pc:sldMk cId="1479553426" sldId="256"/>
            <ac:spMk id="2" creationId="{9E3B942E-8AB5-484A-42B3-8472239E36DD}"/>
          </ac:spMkLst>
        </pc:spChg>
        <pc:graphicFrameChg chg="del">
          <ac:chgData name="Melissa Valdez" userId="S::melissa.valdez@sbigrowth.com::c46fa4df-21fd-4105-a49c-e534fe9adcee" providerId="AD" clId="Web-{0A7F449F-241C-36CD-4DE1-49102B90AF15}" dt="2023-03-01T19:26:46.489" v="11"/>
          <ac:graphicFrameMkLst>
            <pc:docMk/>
            <pc:sldMk cId="1479553426" sldId="256"/>
            <ac:graphicFrameMk id="8" creationId="{6465B19E-19AD-CFB2-9F9A-D751F7D2AEC3}"/>
          </ac:graphicFrameMkLst>
        </pc:graphicFrameChg>
        <pc:picChg chg="add mod">
          <ac:chgData name="Melissa Valdez" userId="S::melissa.valdez@sbigrowth.com::c46fa4df-21fd-4105-a49c-e534fe9adcee" providerId="AD" clId="Web-{0A7F449F-241C-36CD-4DE1-49102B90AF15}" dt="2023-03-01T19:27:02.443" v="15" actId="1076"/>
          <ac:picMkLst>
            <pc:docMk/>
            <pc:sldMk cId="1479553426" sldId="256"/>
            <ac:picMk id="3" creationId="{3F0EA2A0-2122-CCC6-71A7-00675ADBD686}"/>
          </ac:picMkLst>
        </pc:picChg>
        <pc:picChg chg="add mod">
          <ac:chgData name="Melissa Valdez" userId="S::melissa.valdez@sbigrowth.com::c46fa4df-21fd-4105-a49c-e534fe9adcee" providerId="AD" clId="Web-{0A7F449F-241C-36CD-4DE1-49102B90AF15}" dt="2023-03-01T19:28:24.196" v="20" actId="1076"/>
          <ac:picMkLst>
            <pc:docMk/>
            <pc:sldMk cId="1479553426" sldId="256"/>
            <ac:picMk id="4" creationId="{2F84626C-748F-EE10-2E28-A0E9A7731CD1}"/>
          </ac:picMkLst>
        </pc:picChg>
      </pc:sldChg>
      <pc:sldChg chg="del">
        <pc:chgData name="Melissa Valdez" userId="S::melissa.valdez@sbigrowth.com::c46fa4df-21fd-4105-a49c-e534fe9adcee" providerId="AD" clId="Web-{0A7F449F-241C-36CD-4DE1-49102B90AF15}" dt="2023-03-01T19:26:27.363" v="2"/>
        <pc:sldMkLst>
          <pc:docMk/>
          <pc:sldMk cId="1696222088" sldId="257"/>
        </pc:sldMkLst>
      </pc:sldChg>
      <pc:sldChg chg="del">
        <pc:chgData name="Melissa Valdez" userId="S::melissa.valdez@sbigrowth.com::c46fa4df-21fd-4105-a49c-e534fe9adcee" providerId="AD" clId="Web-{0A7F449F-241C-36CD-4DE1-49102B90AF15}" dt="2023-03-01T19:26:27.363" v="1"/>
        <pc:sldMkLst>
          <pc:docMk/>
          <pc:sldMk cId="2807643339" sldId="258"/>
        </pc:sldMkLst>
      </pc:sldChg>
      <pc:sldChg chg="del">
        <pc:chgData name="Melissa Valdez" userId="S::melissa.valdez@sbigrowth.com::c46fa4df-21fd-4105-a49c-e534fe9adcee" providerId="AD" clId="Web-{0A7F449F-241C-36CD-4DE1-49102B90AF15}" dt="2023-03-01T19:26:27.363" v="0"/>
        <pc:sldMkLst>
          <pc:docMk/>
          <pc:sldMk cId="3751665677" sldId="259"/>
        </pc:sldMkLst>
      </pc:sldChg>
      <pc:sldChg chg="del">
        <pc:chgData name="Melissa Valdez" userId="S::melissa.valdez@sbigrowth.com::c46fa4df-21fd-4105-a49c-e534fe9adcee" providerId="AD" clId="Web-{0A7F449F-241C-36CD-4DE1-49102B90AF15}" dt="2023-03-01T19:26:31.879" v="10"/>
        <pc:sldMkLst>
          <pc:docMk/>
          <pc:sldMk cId="4233347363" sldId="260"/>
        </pc:sldMkLst>
      </pc:sldChg>
      <pc:sldChg chg="del">
        <pc:chgData name="Melissa Valdez" userId="S::melissa.valdez@sbigrowth.com::c46fa4df-21fd-4105-a49c-e534fe9adcee" providerId="AD" clId="Web-{0A7F449F-241C-36CD-4DE1-49102B90AF15}" dt="2023-03-01T19:26:31.879" v="9"/>
        <pc:sldMkLst>
          <pc:docMk/>
          <pc:sldMk cId="2910576771" sldId="261"/>
        </pc:sldMkLst>
      </pc:sldChg>
      <pc:sldChg chg="del">
        <pc:chgData name="Melissa Valdez" userId="S::melissa.valdez@sbigrowth.com::c46fa4df-21fd-4105-a49c-e534fe9adcee" providerId="AD" clId="Web-{0A7F449F-241C-36CD-4DE1-49102B90AF15}" dt="2023-03-01T19:26:31.879" v="8"/>
        <pc:sldMkLst>
          <pc:docMk/>
          <pc:sldMk cId="901772117" sldId="262"/>
        </pc:sldMkLst>
      </pc:sldChg>
      <pc:sldChg chg="del">
        <pc:chgData name="Melissa Valdez" userId="S::melissa.valdez@sbigrowth.com::c46fa4df-21fd-4105-a49c-e534fe9adcee" providerId="AD" clId="Web-{0A7F449F-241C-36CD-4DE1-49102B90AF15}" dt="2023-03-01T19:26:31.864" v="7"/>
        <pc:sldMkLst>
          <pc:docMk/>
          <pc:sldMk cId="1568123648" sldId="263"/>
        </pc:sldMkLst>
      </pc:sldChg>
      <pc:sldChg chg="del">
        <pc:chgData name="Melissa Valdez" userId="S::melissa.valdez@sbigrowth.com::c46fa4df-21fd-4105-a49c-e534fe9adcee" providerId="AD" clId="Web-{0A7F449F-241C-36CD-4DE1-49102B90AF15}" dt="2023-03-01T19:26:31.864" v="6"/>
        <pc:sldMkLst>
          <pc:docMk/>
          <pc:sldMk cId="4265541370" sldId="264"/>
        </pc:sldMkLst>
      </pc:sldChg>
      <pc:sldChg chg="del">
        <pc:chgData name="Melissa Valdez" userId="S::melissa.valdez@sbigrowth.com::c46fa4df-21fd-4105-a49c-e534fe9adcee" providerId="AD" clId="Web-{0A7F449F-241C-36CD-4DE1-49102B90AF15}" dt="2023-03-01T19:26:31.864" v="5"/>
        <pc:sldMkLst>
          <pc:docMk/>
          <pc:sldMk cId="413352687" sldId="265"/>
        </pc:sldMkLst>
      </pc:sldChg>
      <pc:sldChg chg="del">
        <pc:chgData name="Melissa Valdez" userId="S::melissa.valdez@sbigrowth.com::c46fa4df-21fd-4105-a49c-e534fe9adcee" providerId="AD" clId="Web-{0A7F449F-241C-36CD-4DE1-49102B90AF15}" dt="2023-03-01T19:26:31.864" v="4"/>
        <pc:sldMkLst>
          <pc:docMk/>
          <pc:sldMk cId="4104974719" sldId="266"/>
        </pc:sldMkLst>
      </pc:sldChg>
      <pc:sldChg chg="del">
        <pc:chgData name="Melissa Valdez" userId="S::melissa.valdez@sbigrowth.com::c46fa4df-21fd-4105-a49c-e534fe9adcee" providerId="AD" clId="Web-{0A7F449F-241C-36CD-4DE1-49102B90AF15}" dt="2023-03-01T19:26:31.864" v="3"/>
        <pc:sldMkLst>
          <pc:docMk/>
          <pc:sldMk cId="3948615736" sldId="267"/>
        </pc:sldMkLst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64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07103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71172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7641978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646013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0166339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139101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13184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3053050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428198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16362073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653271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0356254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2005873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306939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08197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7710571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09229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156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883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847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0657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9263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390018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42955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93942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17" r:id="rId2"/>
    <p:sldLayoutId id="2147483718" r:id="rId3"/>
    <p:sldLayoutId id="2147483691" r:id="rId4"/>
    <p:sldLayoutId id="2147483692" r:id="rId5"/>
    <p:sldLayoutId id="2147483716" r:id="rId6"/>
    <p:sldLayoutId id="2147483660" r:id="rId7"/>
    <p:sldLayoutId id="2147483675" r:id="rId8"/>
    <p:sldLayoutId id="2147483681" r:id="rId9"/>
    <p:sldLayoutId id="2147483726" r:id="rId10"/>
    <p:sldLayoutId id="2147483727" r:id="rId11"/>
    <p:sldLayoutId id="2147483723" r:id="rId12"/>
    <p:sldLayoutId id="2147483724" r:id="rId13"/>
    <p:sldLayoutId id="2147483725" r:id="rId14"/>
    <p:sldLayoutId id="2147483721" r:id="rId15"/>
    <p:sldLayoutId id="2147483722" r:id="rId16"/>
    <p:sldLayoutId id="2147483720" r:id="rId17"/>
    <p:sldLayoutId id="2147483683" r:id="rId18"/>
    <p:sldLayoutId id="2147483685" r:id="rId19"/>
    <p:sldLayoutId id="2147483684" r:id="rId20"/>
    <p:sldLayoutId id="2147483686" r:id="rId21"/>
    <p:sldLayoutId id="2147483714" r:id="rId22"/>
    <p:sldLayoutId id="2147483687" r:id="rId23"/>
    <p:sldLayoutId id="2147483715" r:id="rId24"/>
    <p:sldLayoutId id="2147483690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127532-E268-C4C9-18B1-FFD0098FDC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114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127532-E268-C4C9-18B1-FFD0098FD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3B942E-8AB5-484A-42B3-8472239E36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a typeface="+mj-lt"/>
                <a:cs typeface="+mj-lt"/>
              </a:rPr>
              <a:t>An optimized on-boarding process can put your investment to work quicker and save on opportunities costs from lack of productivity</a:t>
            </a:r>
            <a:endParaRPr lang="en-US" dirty="0"/>
          </a:p>
        </p:txBody>
      </p:sp>
      <p:pic>
        <p:nvPicPr>
          <p:cNvPr id="3" name="Picture 3" descr="Table&#10;&#10;Description automatically generated">
            <a:extLst>
              <a:ext uri="{FF2B5EF4-FFF2-40B4-BE49-F238E27FC236}">
                <a16:creationId xmlns:a16="http://schemas.microsoft.com/office/drawing/2014/main" id="{3F0EA2A0-2122-CCC6-71A7-00675ADBD6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8835" y="1179615"/>
            <a:ext cx="9369286" cy="4730682"/>
          </a:xfrm>
          <a:prstGeom prst="rect">
            <a:avLst/>
          </a:prstGeom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2F84626C-748F-EE10-2E28-A0E9A7731C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58313" y="6223842"/>
            <a:ext cx="2743200" cy="175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5534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PPT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PPT" id="{F384DE65-C618-47F4-9869-7EE6EEF5ACC2}" vid="{F2DA761D-2989-4F06-AD97-1983E325422C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B4DD5FFB695C45A18BC2689F29252A" ma:contentTypeVersion="13" ma:contentTypeDescription="Create a new document." ma:contentTypeScope="" ma:versionID="83bd64f558a0d0b23c569927676891be">
  <xsd:schema xmlns:xsd="http://www.w3.org/2001/XMLSchema" xmlns:xs="http://www.w3.org/2001/XMLSchema" xmlns:p="http://schemas.microsoft.com/office/2006/metadata/properties" xmlns:ns2="8cb45e2b-cabf-4cc0-9f00-e72f0b447b06" xmlns:ns3="162cfcd4-8cf0-4e82-80c5-9e43bd7d75c8" targetNamespace="http://schemas.microsoft.com/office/2006/metadata/properties" ma:root="true" ma:fieldsID="fb83808769dd86f9b0fce7df9f368cfd" ns2:_="" ns3:_="">
    <xsd:import namespace="8cb45e2b-cabf-4cc0-9f00-e72f0b447b06"/>
    <xsd:import namespace="162cfcd4-8cf0-4e82-80c5-9e43bd7d75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b45e2b-cabf-4cc0-9f00-e72f0b447b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2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2cfcd4-8cf0-4e82-80c5-9e43bd7d75c8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65ab976-2bca-4d02-8151-2c405a304dee}" ma:internalName="TaxCatchAll" ma:showField="CatchAllData" ma:web="162cfcd4-8cf0-4e82-80c5-9e43bd7d75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cb45e2b-cabf-4cc0-9f00-e72f0b447b06">
      <Terms xmlns="http://schemas.microsoft.com/office/infopath/2007/PartnerControls"/>
    </lcf76f155ced4ddcb4097134ff3c332f>
    <TaxCatchAll xmlns="162cfcd4-8cf0-4e82-80c5-9e43bd7d75c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802C81E-D3ED-4BF1-83DC-724A0C41C6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cb45e2b-cabf-4cc0-9f00-e72f0b447b06"/>
    <ds:schemaRef ds:uri="162cfcd4-8cf0-4e82-80c5-9e43bd7d75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420D3FE-6667-4F0C-889A-B4E3DEA2B756}">
  <ds:schemaRefs>
    <ds:schemaRef ds:uri="http://schemas.microsoft.com/office/2006/metadata/properties"/>
    <ds:schemaRef ds:uri="http://schemas.microsoft.com/office/infopath/2007/PartnerControls"/>
    <ds:schemaRef ds:uri="de4c8fc4-2394-4fdd-9a57-5e466165fc0b"/>
    <ds:schemaRef ds:uri="58bd7318-ec21-448b-a858-8c3989415506"/>
    <ds:schemaRef ds:uri="8cb45e2b-cabf-4cc0-9f00-e72f0b447b06"/>
    <ds:schemaRef ds:uri="162cfcd4-8cf0-4e82-80c5-9e43bd7d75c8"/>
  </ds:schemaRefs>
</ds:datastoreItem>
</file>

<file path=customXml/itemProps3.xml><?xml version="1.0" encoding="utf-8"?>
<ds:datastoreItem xmlns:ds="http://schemas.openxmlformats.org/officeDocument/2006/customXml" ds:itemID="{E4683C10-1281-4C3C-9214-F204549E5B3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168</TotalTime>
  <Words>1483</Words>
  <Application>Microsoft Office PowerPoint</Application>
  <PresentationFormat>Widescreen</PresentationFormat>
  <Paragraphs>182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SBI PPT</vt:lpstr>
      <vt:lpstr>An optimized on-boarding process can put your investment to work quicker and save on opportunities costs from lack of productivit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stmortem</dc:title>
  <dc:creator>Jannson Engleman</dc:creator>
  <cp:lastModifiedBy>Jannson Engleman</cp:lastModifiedBy>
  <cp:revision>13</cp:revision>
  <dcterms:created xsi:type="dcterms:W3CDTF">2022-11-29T15:48:27Z</dcterms:created>
  <dcterms:modified xsi:type="dcterms:W3CDTF">2023-03-01T19:2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B4DD5FFB695C45A18BC2689F29252A</vt:lpwstr>
  </property>
  <property fmtid="{D5CDD505-2E9C-101B-9397-08002B2CF9AE}" pid="3" name="MediaServiceImageTags">
    <vt:lpwstr/>
  </property>
  <property fmtid="{D5CDD505-2E9C-101B-9397-08002B2CF9AE}" pid="4" name="Order">
    <vt:r8>9500</vt:r8>
  </property>
</Properties>
</file>